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C9B00"/>
    <a:srgbClr val="CF00F1"/>
    <a:srgbClr val="00CA00"/>
    <a:srgbClr val="FF8800"/>
    <a:srgbClr val="D520F3"/>
    <a:srgbClr val="EDEDED"/>
    <a:srgbClr val="44CC36"/>
    <a:srgbClr val="2E4DF9"/>
    <a:srgbClr val="FFFFFF"/>
    <a:srgbClr val="00E8E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20"/>
    <p:restoredTop sz="97440" autoAdjust="0"/>
  </p:normalViewPr>
  <p:slideViewPr>
    <p:cSldViewPr snapToGrid="0">
      <p:cViewPr varScale="1">
        <p:scale>
          <a:sx n="82" d="100"/>
          <a:sy n="82" d="100"/>
        </p:scale>
        <p:origin x="1518" y="6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TITLESHAPE" val="Tru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2"/>
  <p:tag name="GUTTERCOL" val="0.6 cm"/>
  <p:tag name="GUTTERROW" val="0.6 cm"/>
  <p:tag name="GUIDESAPPLIEDTO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MEASURMENT" val="Tru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4"/>
  <p:tag name="GUIDEROWS" val="1"/>
  <p:tag name="GUTTERCOL" val="0.6 cm"/>
  <p:tag name="GUTTERROW" val="0.6 cm"/>
  <p:tag name="GUIDESAPPLIEDTO" val="2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3"/>
  <p:tag name="GUIDEROWS" val="1"/>
  <p:tag name="GUTTERCOL" val="0.6 cm"/>
  <p:tag name="GUTTERROW" val="0.6 cm"/>
  <p:tag name="GUIDESAPPLIEDTO" val="2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ASTERTOPMARGIN" val="141.7323"/>
  <p:tag name="MASTERLEFTMARGIN" val="28.3465"/>
  <p:tag name="MASTERRIGHTMARGIN" val="28.3465"/>
  <p:tag name="MASTERBOTTOMMARGIN" val="70.8661"/>
  <p:tag name="CUSTMASTERTOPMARGIN" val="141.7323"/>
  <p:tag name="CUSTMASTERLEFTMARGIN" val="28.3465"/>
  <p:tag name="CUSTMASTERRIGHTMARGIN" val="28.3465"/>
  <p:tag name="CUSTMASTERBOTTOMMARGIN" val="70.8661"/>
  <p:tag name="GUIDECOLS" val="2"/>
  <p:tag name="GUIDEROWS" val="1"/>
  <p:tag name="GUTTERCOL" val="0.6 cm"/>
  <p:tag name="GUTTERROW" val="0.6 cm"/>
  <p:tag name="GUIDESAPPLIEDTO" val="2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IDECOLS" val="1"/>
  <p:tag name="GUIDEROWS" val="1"/>
  <p:tag name="GUTTERCOL" val="0.6"/>
  <p:tag name="GUTTERROW" val="0.6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4"/>
  <p:tag name="GUIDEROWS" val="1"/>
  <p:tag name="GUTTERCOL" val="0.6 cm"/>
  <p:tag name="GUTTERROW" val="0.6 cm"/>
  <p:tag name="GUIDESAPPLIEDTO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6"/>
  <p:tag name="GUIDEROWS" val="1"/>
  <p:tag name="GUTTERCOL" val="0.6 cm"/>
  <p:tag name="GUTTERROW" val="0.6 cm"/>
  <p:tag name="GUIDESAPPLIEDTO" val="2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2"/>
  <p:tag name="GUIDEROWS" val="1"/>
  <p:tag name="GUTTERCOL" val="0.6 cm"/>
  <p:tag name="GUTTERROW" val="0.6 cm"/>
  <p:tag name="GUIDESAPPLIEDTO" val="2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91rAQAnTXeHbh2z.pbho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SAPPLIEDTO" val="2"/>
  <p:tag name="GUTTERROW" val="0.6 cm"/>
  <p:tag name="GUTTERCOL" val="0.6 cm"/>
  <p:tag name="GUIDEROWS" val="1"/>
  <p:tag name="GUIDECOLS" val="3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3"/>
  <p:tag name="GUIDEROWS" val="1"/>
  <p:tag name="GUTTERCOL" val="0.6 cm"/>
  <p:tag name="GUTTERROW" val="0.6 cm"/>
  <p:tag name="GUIDESAPPLIEDTO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UIDECOLS" val="1"/>
  <p:tag name="GUIDEROWS" val="1"/>
  <p:tag name="GUTTERCOL" val="0.6 cm"/>
  <p:tag name="GUTTERROW" val="0.6 cm"/>
  <p:tag name="GUIDESAPPLIEDTO" val="2"/>
</p:tagLst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c097f1e6-5941-48e7-ac45-8c5509127d4f" ContentTypeId="0x01010014768F94803F42BEA62C5B7969543DC7" PreviousValue="false"/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7a2c079-d1fd-410b-b0f0-ee08b7165110" xsi:nil="true"/>
    <lcf76f155ced4ddcb4097134ff3c332f xmlns="a2ab3192-023e-4cb9-a2ae-4ed9fadc7a0f">
      <Terms xmlns="http://schemas.microsoft.com/office/infopath/2007/PartnerControls"/>
    </lcf76f155ced4ddcb4097134ff3c332f>
    <IconOverlay xmlns="http://schemas.microsoft.com/sharepoint/v4" xsi:nil="true"/>
  </documentManagement>
</p:properties>
</file>

<file path=customXml/item5.xml><?xml version="1.0" encoding="utf-8"?>
<ct:contentTypeSchema xmlns:ct="http://schemas.microsoft.com/office/2006/metadata/contentType" xmlns:ma="http://schemas.microsoft.com/office/2006/metadata/properties/metaAttributes" ct:_="" ma:_="" ma:contentTypeName="Working Document" ma:contentTypeID="0x01010014768F94803F42BEA62C5B7969543DC700A883787280CA1148B813F2944FB4FF76" ma:contentTypeVersion="128" ma:contentTypeDescription="A work in progress document. &#10;Retention period upon archiving: 0 years." ma:contentTypeScope="" ma:versionID="a8aa18c65788aa7a6b5853615225fcd4">
  <xsd:schema xmlns:xsd="http://www.w3.org/2001/XMLSchema" xmlns:xs="http://www.w3.org/2001/XMLSchema" xmlns:p="http://schemas.microsoft.com/office/2006/metadata/properties" xmlns:ns2="a2ab3192-023e-4cb9-a2ae-4ed9fadc7a0f" xmlns:ns3="http://schemas.microsoft.com/sharepoint/v4" xmlns:ns4="97a2c079-d1fd-410b-b0f0-ee08b7165110" targetNamespace="http://schemas.microsoft.com/office/2006/metadata/properties" ma:root="true" ma:fieldsID="5391b65e1fe2a3b302c167b307d452db" ns2:_="" ns3:_="" ns4:_="">
    <xsd:import namespace="a2ab3192-023e-4cb9-a2ae-4ed9fadc7a0f"/>
    <xsd:import namespace="http://schemas.microsoft.com/sharepoint/v4"/>
    <xsd:import namespace="97a2c079-d1fd-410b-b0f0-ee08b7165110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IconOverlay" minOccurs="0"/>
                <xsd:element ref="ns2:lcf76f155ced4ddcb4097134ff3c332f" minOccurs="0"/>
                <xsd:element ref="ns4:TaxCatchAl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2ab3192-023e-4cb9-a2ae-4ed9fadc7a0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3" nillable="true" ma:displayName="Length (seconds)" ma:internalName="MediaLengthInSeconds" ma:readOnly="true">
      <xsd:simpleType>
        <xsd:restriction base="dms:Unknown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cbc5697c-9d86-4020-9001-b7da5740438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4" elementFormDefault="qualified">
    <xsd:import namespace="http://schemas.microsoft.com/office/2006/documentManagement/types"/>
    <xsd:import namespace="http://schemas.microsoft.com/office/infopath/2007/PartnerControls"/>
    <xsd:element name="IconOverlay" ma:index="18" nillable="true" ma:displayName="IconOverlay" ma:hidden="true" ma:internalName="IconOverlay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a2c079-d1fd-410b-b0f0-ee08b7165110" elementFormDefault="qualified">
    <xsd:import namespace="http://schemas.microsoft.com/office/2006/documentManagement/types"/>
    <xsd:import namespace="http://schemas.microsoft.com/office/infopath/2007/PartnerControls"/>
    <xsd:element name="TaxCatchAll" ma:index="21" nillable="true" ma:displayName="Taxonomy Catch All Column" ma:hidden="true" ma:list="{6302ec4b-3f1f-45e8-8c80-7f91c3a0c0a0}" ma:internalName="TaxCatchAll" ma:showField="CatchAllData" ma:web="1b915edb-fe35-4748-bc78-be0abdbece6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D9A3CDA-84DF-464E-B336-6267DF4680A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D5D01FE3-3C75-49EB-9544-82A19D85567E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F0F5B9DB-F5F3-48E5-82E1-6A523240D40D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3C87BAC7-7F8B-4497-B6E5-BB7D9E97425E}">
  <ds:schemaRefs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sharepoint/v4"/>
    <ds:schemaRef ds:uri="http://purl.org/dc/elements/1.1/"/>
    <ds:schemaRef ds:uri="97a2c079-d1fd-410b-b0f0-ee08b7165110"/>
    <ds:schemaRef ds:uri="http://schemas.microsoft.com/office/infopath/2007/PartnerControls"/>
    <ds:schemaRef ds:uri="http://schemas.openxmlformats.org/package/2006/metadata/core-properties"/>
    <ds:schemaRef ds:uri="a2ab3192-023e-4cb9-a2ae-4ed9fadc7a0f"/>
    <ds:schemaRef ds:uri="http://www.w3.org/XML/1998/namespace"/>
    <ds:schemaRef ds:uri="http://purl.org/dc/dcmitype/"/>
  </ds:schemaRefs>
</ds:datastoreItem>
</file>

<file path=customXml/itemProps5.xml><?xml version="1.0" encoding="utf-8"?>
<ds:datastoreItem xmlns:ds="http://schemas.openxmlformats.org/officeDocument/2006/customXml" ds:itemID="{D6A8AB61-FEDA-47C3-A2EF-E53A479109B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2ab3192-023e-4cb9-a2ae-4ed9fadc7a0f"/>
    <ds:schemaRef ds:uri="http://schemas.microsoft.com/sharepoint/v4"/>
    <ds:schemaRef ds:uri="97a2c079-d1fd-410b-b0f0-ee08b71651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66</TotalTime>
  <Words>345</Words>
  <PresentationFormat>A3 Paper (297x420 mm)</PresentationFormat>
  <Paragraphs>154</Paragraphs>
  <Slides>2</Slides>
  <Notes>2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8" baseType="lpstr">
      <vt:lpstr>Arial</vt:lpstr>
      <vt:lpstr>Arial Black</vt:lpstr>
      <vt:lpstr>Calibri</vt:lpstr>
      <vt:lpstr>Segoe UI</vt:lpstr>
      <vt:lpstr>1_Office Theme</vt:lpstr>
      <vt:lpstr>think-cell Slide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cp:lastPrinted>2023-03-16T13:24:13Z</cp:lastPrinted>
  <dcterms:created xsi:type="dcterms:W3CDTF">2022-08-04T15:17:55Z</dcterms:created>
  <dcterms:modified xsi:type="dcterms:W3CDTF">2023-05-04T12:16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4768F94803F42BEA62C5B7969543DC700A883787280CA1148B813F2944FB4FF76</vt:lpwstr>
  </property>
  <property fmtid="{D5CDD505-2E9C-101B-9397-08002B2CF9AE}" pid="3" name="_dlc_DocIdItemGuid">
    <vt:lpwstr>30a13a40-d14b-4b24-be66-684fddc8faa3</vt:lpwstr>
  </property>
  <property fmtid="{D5CDD505-2E9C-101B-9397-08002B2CF9AE}" pid="4" name="MediaServiceImageTags">
    <vt:lpwstr/>
  </property>
  <property fmtid="{D5CDD505-2E9C-101B-9397-08002B2CF9AE}" pid="5" name="_dlc_DocId">
    <vt:lpwstr>2MX3P7Y5RS4X-61670648-4089</vt:lpwstr>
  </property>
  <property fmtid="{D5CDD505-2E9C-101B-9397-08002B2CF9AE}" pid="6" name="_dlc_DocIdUrl">
    <vt:lpwstr>https://tgf.sharepoint.com/sites/TSCMS1/CMSS/_layouts/15/DocIdRedir.aspx?ID=2MX3P7Y5RS4X-61670648-4089, 2MX3P7Y5RS4X-61670648-4089</vt:lpwstr>
  </property>
</Properties>
</file>